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bin" ContentType="application/vnd.openxmlformats-officedocument.oleObject"/>
  <Default Extension="vml" ContentType="application/vnd.openxmlformats-officedocument.vmlDrawing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200.xml" ContentType="application/vnd.openxmlformats-officedocument.presentationml.slide+xml"/>
  <Override PartName="/ppt/tags/tag875.xml" ContentType="application/vnd.openxmlformats-officedocument.presentationml.tags+xml"/>
  <Override PartName="/ppt/tags/tag880.xml" ContentType="application/vnd.openxmlformats-officedocument.presentationml.tags+xml"/>
  <Override PartName="/ppt/tags/tag888.xml" ContentType="application/vnd.openxmlformats-officedocument.presentationml.tags+xml"/>
  <Override PartName="/ppt/tags/tag865.xml" ContentType="application/vnd.openxmlformats-officedocument.presentationml.tags+xml"/>
  <Override PartName="/ppt/tags/tag883.xml" ContentType="application/vnd.openxmlformats-officedocument.presentationml.tags+xml"/>
  <Override PartName="/ppt/tags/tag869.xml" ContentType="application/vnd.openxmlformats-officedocument.presentationml.tags+xml"/>
  <Override PartName="/ppt/tags/tag874.xml" ContentType="application/vnd.openxmlformats-officedocument.presentationml.tags+xml"/>
  <Override PartName="/ppt/tags/tag879.xml" ContentType="application/vnd.openxmlformats-officedocument.presentationml.tags+xml"/>
  <Override PartName="/ppt/tags/tag887.xml" ContentType="application/vnd.openxmlformats-officedocument.presentationml.tags+xml"/>
  <Override PartName="/ppt/tags/tag864.xml" ContentType="application/vnd.openxmlformats-officedocument.presentationml.tags+xml"/>
  <Override PartName="/ppt/tags/tag878.xml" ContentType="application/vnd.openxmlformats-officedocument.presentationml.tags+xml"/>
  <Override PartName="/ppt/tags/tag882.xml" ContentType="application/vnd.openxmlformats-officedocument.presentationml.tags+xml"/>
  <Override PartName="/ppt/tags/tag891.xml" ContentType="application/vnd.openxmlformats-officedocument.presentationml.tags+xml"/>
  <Override PartName="/ppt/tags/tag868.xml" ContentType="application/vnd.openxmlformats-officedocument.presentationml.tags+xml"/>
  <Override PartName="/ppt/tags/tag873.xml" ContentType="application/vnd.openxmlformats-officedocument.presentationml.tags+xml"/>
  <Override PartName="/ppt/tags/tag886.xml" ContentType="application/vnd.openxmlformats-officedocument.presentationml.tags+xml"/>
  <Override PartName="/ppt/notesSlides/notesSlide200.xml" ContentType="application/vnd.openxmlformats-officedocument.presentationml.notesSlide+xml"/>
  <Override PartName="/ppt/tags/tag867.xml" ContentType="application/vnd.openxmlformats-officedocument.presentationml.tags+xml"/>
  <Override PartName="/ppt/tags/tag877.xml" ContentType="application/vnd.openxmlformats-officedocument.presentationml.tags+xml"/>
  <Override PartName="/ppt/tags/tag885.xml" ContentType="application/vnd.openxmlformats-officedocument.presentationml.tags+xml"/>
  <Override PartName="/ppt/tags/tag890.xml" ContentType="application/vnd.openxmlformats-officedocument.presentationml.tags+xml"/>
  <Override PartName="/ppt/tags/tag872.xml" ContentType="application/vnd.openxmlformats-officedocument.presentationml.tags+xml"/>
  <Override PartName="/ppt/tags/tag881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866.xml" ContentType="application/vnd.openxmlformats-officedocument.presentationml.tags+xml"/>
  <Override PartName="/ppt/tags/tag871.xml" ContentType="application/vnd.openxmlformats-officedocument.presentationml.tags+xml"/>
  <Override PartName="/ppt/tags/tag876.xml" ContentType="application/vnd.openxmlformats-officedocument.presentationml.tags+xml"/>
  <Override PartName="/ppt/tags/tag884.xml" ContentType="application/vnd.openxmlformats-officedocument.presentationml.tags+xml"/>
  <Override PartName="/ppt/tags/tag889.xml" ContentType="application/vnd.openxmlformats-officedocument.presentationml.tags+xml"/>
  <Override PartName="/ppt/tags/tag892.xml" ContentType="application/vnd.openxmlformats-officedocument.presentationml.tags+xml"/>
  <Override PartName="/ppt/charts/chart29.xml" ContentType="application/vnd.openxmlformats-officedocument.drawingml.chart+xml"/>
  <Override PartName="/ppt/tags/tag870.xml" ContentType="application/vnd.openxmlformats-officedocument.presentationml.tags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34" r:id="rId20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" Target="/ppt/slides/slide200.xml" Id="rId203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29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28.xlsb" Id="rId1" /></Relationships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467412771560237"/>
          <c:y val="8.2267689684569476E-2"/>
          <c:w val="0.8839148562650867"/>
          <c:h val="0.8354646206308610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6E1-48EA-8EBE-315D2522565D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6E1-48EA-8EBE-315D2522565D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6E1-48EA-8EBE-315D2522565D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6E1-48EA-8EBE-315D2522565D}"/>
                </c:ext>
              </c:extLst>
            </c:dLbl>
            <c:dLbl>
              <c:idx val="2"/>
              <c:layout>
                <c:manualLayout>
                  <c:x val="0"/>
                  <c:y val="-4.2625745950554135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6E1-48EA-8EBE-315D2522565D}"/>
                </c:ext>
              </c:extLst>
            </c:dLbl>
            <c:dLbl>
              <c:idx val="3"/>
              <c:layout>
                <c:manualLayout>
                  <c:x val="0"/>
                  <c:y val="-4.2625745950554135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6E1-48EA-8EBE-315D2522565D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6E1-48EA-8EBE-315D2522565D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6E1-48EA-8EBE-315D2522565D}"/>
                </c:ext>
              </c:extLst>
            </c:dLbl>
            <c:dLbl>
              <c:idx val="6"/>
              <c:layout>
                <c:manualLayout>
                  <c:x val="0"/>
                  <c:y val="-4.2625745950554135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6E1-48EA-8EBE-315D2522565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55.293071572877636</c:v>
                </c:pt>
                <c:pt idx="1">
                  <c:v>49.980149615807896</c:v>
                </c:pt>
                <c:pt idx="2">
                  <c:v>47.381118075486754</c:v>
                </c:pt>
                <c:pt idx="3">
                  <c:v>44.110220130438961</c:v>
                </c:pt>
                <c:pt idx="4">
                  <c:v>43.425944588313655</c:v>
                </c:pt>
                <c:pt idx="5">
                  <c:v>41.655048778825865</c:v>
                </c:pt>
                <c:pt idx="6">
                  <c:v>43.704525684314504</c:v>
                </c:pt>
                <c:pt idx="7">
                  <c:v>99.999999999999986</c:v>
                </c:pt>
                <c:pt idx="8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6E1-48EA-8EBE-315D2522565D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6E1-48EA-8EBE-315D2522565D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6E1-48EA-8EBE-315D2522565D}"/>
                </c:ext>
              </c:extLst>
            </c:dLbl>
            <c:dLbl>
              <c:idx val="2"/>
              <c:layout>
                <c:manualLayout>
                  <c:x val="0"/>
                  <c:y val="-4.2625745950554135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6E1-48EA-8EBE-315D2522565D}"/>
                </c:ext>
              </c:extLst>
            </c:dLbl>
            <c:dLbl>
              <c:idx val="3"/>
              <c:layout>
                <c:manualLayout>
                  <c:x val="0"/>
                  <c:y val="-4.2625745950554135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6E1-48EA-8EBE-315D2522565D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6E1-48EA-8EBE-315D2522565D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6E1-48EA-8EBE-315D2522565D}"/>
                </c:ext>
              </c:extLst>
            </c:dLbl>
            <c:dLbl>
              <c:idx val="6"/>
              <c:layout>
                <c:manualLayout>
                  <c:x val="0"/>
                  <c:y val="-4.2625745950554135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6E1-48EA-8EBE-315D2522565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44.706928427122364</c:v>
                </c:pt>
                <c:pt idx="1">
                  <c:v>50.019850384192097</c:v>
                </c:pt>
                <c:pt idx="2">
                  <c:v>52.618881924513246</c:v>
                </c:pt>
                <c:pt idx="3">
                  <c:v>55.889779869561032</c:v>
                </c:pt>
                <c:pt idx="4">
                  <c:v>56.574055411686345</c:v>
                </c:pt>
                <c:pt idx="5">
                  <c:v>58.344951221174135</c:v>
                </c:pt>
                <c:pt idx="6">
                  <c:v>56.2954743156854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26E1-48EA-8EBE-315D252256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24596464"/>
        <c:axId val="1"/>
      </c:barChart>
      <c:catAx>
        <c:axId val="3245964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zh-CN"/>
          </a:p>
        </c:txPr>
        <c:crossAx val="324596464"/>
        <c:crosses val="min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0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00.xml.rels>&#65279;<?xml version="1.0" encoding="utf-8"?><Relationships xmlns="http://schemas.openxmlformats.org/package/2006/relationships"><Relationship Type="http://schemas.openxmlformats.org/officeDocument/2006/relationships/slide" Target="/ppt/slides/slide200.xml" Id="rId2" /><Relationship Type="http://schemas.openxmlformats.org/officeDocument/2006/relationships/notesMaster" Target="/ppt/notesMasters/notesMaster1.xml" Id="rId1" /></Relationships>
</file>

<file path=ppt/notesSlides/notesSlide2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55014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00.xml.rels>&#65279;<?xml version="1.0" encoding="utf-8"?><Relationships xmlns="http://schemas.openxmlformats.org/package/2006/relationships"><Relationship Type="http://schemas.openxmlformats.org/officeDocument/2006/relationships/tags" Target="/ppt/tags/tag875.xml" Id="rId13" /><Relationship Type="http://schemas.openxmlformats.org/officeDocument/2006/relationships/tags" Target="/ppt/tags/tag880.xml" Id="rId18" /><Relationship Type="http://schemas.openxmlformats.org/officeDocument/2006/relationships/tags" Target="/ppt/tags/tag888.xml" Id="rId26" /><Relationship Type="http://schemas.openxmlformats.org/officeDocument/2006/relationships/tags" Target="/ppt/tags/tag865.xml" Id="rId3" /><Relationship Type="http://schemas.openxmlformats.org/officeDocument/2006/relationships/tags" Target="/ppt/tags/tag883.xml" Id="rId21" /><Relationship Type="http://schemas.openxmlformats.org/officeDocument/2006/relationships/image" Target="/ppt/media/image4.emf" Id="rId34" /><Relationship Type="http://schemas.openxmlformats.org/officeDocument/2006/relationships/tags" Target="/ppt/tags/tag869.xml" Id="rId7" /><Relationship Type="http://schemas.openxmlformats.org/officeDocument/2006/relationships/tags" Target="/ppt/tags/tag874.xml" Id="rId12" /><Relationship Type="http://schemas.openxmlformats.org/officeDocument/2006/relationships/tags" Target="/ppt/tags/tag879.xml" Id="rId17" /><Relationship Type="http://schemas.openxmlformats.org/officeDocument/2006/relationships/tags" Target="/ppt/tags/tag887.xml" Id="rId25" /><Relationship Type="http://schemas.openxmlformats.org/officeDocument/2006/relationships/oleObject" Target="/ppt/embeddings/oleObject204.bin" Id="rId33" /><Relationship Type="http://schemas.openxmlformats.org/officeDocument/2006/relationships/tags" Target="/ppt/tags/tag864.xml" Id="rId2" /><Relationship Type="http://schemas.openxmlformats.org/officeDocument/2006/relationships/tags" Target="/ppt/tags/tag878.xml" Id="rId16" /><Relationship Type="http://schemas.openxmlformats.org/officeDocument/2006/relationships/tags" Target="/ppt/tags/tag882.xml" Id="rId20" /><Relationship Type="http://schemas.openxmlformats.org/officeDocument/2006/relationships/tags" Target="/ppt/tags/tag891.xml" Id="rId29" /><Relationship Type="http://schemas.openxmlformats.org/officeDocument/2006/relationships/vmlDrawing" Target="/ppt/drawings/vmlDrawing204.vml" Id="rId1" /><Relationship Type="http://schemas.openxmlformats.org/officeDocument/2006/relationships/tags" Target="/ppt/tags/tag868.xml" Id="rId6" /><Relationship Type="http://schemas.openxmlformats.org/officeDocument/2006/relationships/tags" Target="/ppt/tags/tag873.xml" Id="rId11" /><Relationship Type="http://schemas.openxmlformats.org/officeDocument/2006/relationships/tags" Target="/ppt/tags/tag886.xml" Id="rId24" /><Relationship Type="http://schemas.openxmlformats.org/officeDocument/2006/relationships/notesSlide" Target="/ppt/notesSlides/notesSlide200.xml" Id="rId32" /><Relationship Type="http://schemas.openxmlformats.org/officeDocument/2006/relationships/tags" Target="/ppt/tags/tag867.xml" Id="rId5" /><Relationship Type="http://schemas.openxmlformats.org/officeDocument/2006/relationships/tags" Target="/ppt/tags/tag877.xml" Id="rId15" /><Relationship Type="http://schemas.openxmlformats.org/officeDocument/2006/relationships/tags" Target="/ppt/tags/tag885.xml" Id="rId23" /><Relationship Type="http://schemas.openxmlformats.org/officeDocument/2006/relationships/tags" Target="/ppt/tags/tag890.xml" Id="rId28" /><Relationship Type="http://schemas.openxmlformats.org/officeDocument/2006/relationships/tags" Target="/ppt/tags/tag872.xml" Id="rId10" /><Relationship Type="http://schemas.openxmlformats.org/officeDocument/2006/relationships/tags" Target="/ppt/tags/tag881.xml" Id="rId19" /><Relationship Type="http://schemas.openxmlformats.org/officeDocument/2006/relationships/slideLayout" Target="/ppt/slideLayouts/slideLayout5.xml" Id="rId31" /><Relationship Type="http://schemas.openxmlformats.org/officeDocument/2006/relationships/tags" Target="/ppt/tags/tag866.xml" Id="rId4" /><Relationship Type="http://schemas.openxmlformats.org/officeDocument/2006/relationships/tags" Target="/ppt/tags/tag871.xml" Id="rId9" /><Relationship Type="http://schemas.openxmlformats.org/officeDocument/2006/relationships/tags" Target="/ppt/tags/tag876.xml" Id="rId14" /><Relationship Type="http://schemas.openxmlformats.org/officeDocument/2006/relationships/tags" Target="/ppt/tags/tag884.xml" Id="rId22" /><Relationship Type="http://schemas.openxmlformats.org/officeDocument/2006/relationships/tags" Target="/ppt/tags/tag889.xml" Id="rId27" /><Relationship Type="http://schemas.openxmlformats.org/officeDocument/2006/relationships/tags" Target="/ppt/tags/tag892.xml" Id="rId30" /><Relationship Type="http://schemas.openxmlformats.org/officeDocument/2006/relationships/chart" Target="/ppt/charts/chart29.xml" Id="rId35" /><Relationship Type="http://schemas.openxmlformats.org/officeDocument/2006/relationships/tags" Target="/ppt/tags/tag870.xml" Id="rId8" /></Relationships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4089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55" name="think-cell 幻灯片" r:id="rId33" imgW="349" imgH="350" progId="TCLayout.ActiveDocument.1">
                  <p:embed/>
                </p:oleObj>
              </mc:Choice>
              <mc:Fallback>
                <p:oleObj name="think-cell 幻灯片" r:id="rId33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Composition: Stacked 100% column</a:t>
            </a:r>
          </a:p>
        </p:txBody>
      </p:sp>
      <p:graphicFrame>
        <p:nvGraphicFramePr>
          <p:cNvPr id="48" name="Chart 3">
            <a:extLst>
              <a:ext uri="{FF2B5EF4-FFF2-40B4-BE49-F238E27FC236}">
                <a16:creationId xmlns:a16="http://schemas.microsoft.com/office/drawing/2014/main" id="{38765017-961A-4795-95FE-10177DFC4A0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07394369"/>
              </p:ext>
            </p:extLst>
          </p:nvPr>
        </p:nvGraphicFramePr>
        <p:xfrm>
          <a:off x="266700" y="2011363"/>
          <a:ext cx="7234238" cy="3724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5DF196F-FDA4-3187-E40D-5CF31A202B0F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7350125" y="2317750"/>
            <a:ext cx="203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160">
            <a:extLst>
              <a:ext uri="{FF2B5EF4-FFF2-40B4-BE49-F238E27FC236}">
                <a16:creationId xmlns:a16="http://schemas.microsoft.com/office/drawing/2014/main" id="{E398D001-14A0-309E-E7FC-74B5B146A3EE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90525" y="1855788"/>
            <a:ext cx="151923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  <a:sym typeface="+mn-lt"/>
              </a:rPr>
              <a:t>Revenue [USD m]</a:t>
            </a:r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3" name="Rectangle 59">
            <a:extLst>
              <a:ext uri="{FF2B5EF4-FFF2-40B4-BE49-F238E27FC236}">
                <a16:creationId xmlns:a16="http://schemas.microsoft.com/office/drawing/2014/main" id="{2DA6CF21-855A-CB06-7EB4-9D702167EC34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1165225" y="5487988"/>
            <a:ext cx="4254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BAD4CED-7FB1-42F0-BFA7-8E75EC4F15C8}" type="datetime'2''''''''''''''''''''''''0''16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5" name="Rectangle 60">
            <a:extLst>
              <a:ext uri="{FF2B5EF4-FFF2-40B4-BE49-F238E27FC236}">
                <a16:creationId xmlns:a16="http://schemas.microsoft.com/office/drawing/2014/main" id="{E5598D69-DB3E-E9BC-C039-8DCF98281635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884363" y="5487988"/>
            <a:ext cx="4111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9314C61-85F2-4DC6-929E-07FCC7A4F3B8}" type="datetime'2''''''''''''''0''''''''''''''''''''''''''1''''''''''''''''7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30" name="Rectangle 61">
            <a:extLst>
              <a:ext uri="{FF2B5EF4-FFF2-40B4-BE49-F238E27FC236}">
                <a16:creationId xmlns:a16="http://schemas.microsoft.com/office/drawing/2014/main" id="{203A593A-5CB0-E23E-28E8-6615088DF3F7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2584450" y="5487988"/>
            <a:ext cx="4286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BDCF133-998C-4952-AA36-0A6AD253D4B3}" type="datetime'''''''2''0''''''''''''''''''''18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34" name="Rectangle 62">
            <a:extLst>
              <a:ext uri="{FF2B5EF4-FFF2-40B4-BE49-F238E27FC236}">
                <a16:creationId xmlns:a16="http://schemas.microsoft.com/office/drawing/2014/main" id="{BFBDF718-2830-E1EF-453F-FF3D1D106C55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297238" y="5487988"/>
            <a:ext cx="4254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9882743-685F-4D7A-80D4-C0B1A3738368}" type="datetime'''''''''2''''''''0''''''''''''''1''''9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37" name="Rectangle 127">
            <a:extLst>
              <a:ext uri="{FF2B5EF4-FFF2-40B4-BE49-F238E27FC236}">
                <a16:creationId xmlns:a16="http://schemas.microsoft.com/office/drawing/2014/main" id="{C55BCFB3-29D2-567C-384C-23B84B06D3AC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986213" y="5487988"/>
            <a:ext cx="4667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4B037E6-007F-43D4-915E-C83CBA488DF1}" type="datetime'''''20''2''''''''''''''''''0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39" name="Rectangle 128">
            <a:extLst>
              <a:ext uri="{FF2B5EF4-FFF2-40B4-BE49-F238E27FC236}">
                <a16:creationId xmlns:a16="http://schemas.microsoft.com/office/drawing/2014/main" id="{151BFC8E-6609-A208-BF42-8939AFAEEA96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4718050" y="5487988"/>
            <a:ext cx="4254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EFC3C5-371B-4E6F-B5FE-684A99F00340}" type="datetime'''''2''''''''''''''''''''''''''''''0''''''''''''''2''1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40" name="Rectangle 129">
            <a:extLst>
              <a:ext uri="{FF2B5EF4-FFF2-40B4-BE49-F238E27FC236}">
                <a16:creationId xmlns:a16="http://schemas.microsoft.com/office/drawing/2014/main" id="{99E57F9E-F6D5-645E-C0C7-95AC9E014078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410200" y="5487988"/>
            <a:ext cx="4619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B796DA5-70A6-484C-8374-1D63E6E56615}" type="datetime'''''''''''2''''''''''''0''''''''''2''''''2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42" name="Rectangle 130">
            <a:extLst>
              <a:ext uri="{FF2B5EF4-FFF2-40B4-BE49-F238E27FC236}">
                <a16:creationId xmlns:a16="http://schemas.microsoft.com/office/drawing/2014/main" id="{D7C15A00-FDB1-2286-1E63-352291B97087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6043612" y="5487988"/>
            <a:ext cx="61753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5C291B1-E335-4DBD-B1C6-BC7EB2B95D8E}" type="datetime'''2''''''''''''''''''''''0''''''''''''''''2''''''3 F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3 F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9" name="Rectangle 131">
            <a:extLst>
              <a:ext uri="{FF2B5EF4-FFF2-40B4-BE49-F238E27FC236}">
                <a16:creationId xmlns:a16="http://schemas.microsoft.com/office/drawing/2014/main" id="{5A293FF5-A914-C6F3-1EB1-9D8641A6E2DC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6750049" y="5487988"/>
            <a:ext cx="6223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B2057DB-5E88-4E16-AD2D-5B6135F4F023}" type="datetime'''''''''2''''''''''''''''''0''''2''4'''''''''''''''''' ''F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4 F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604125" y="2227263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AADC89C-2EF7-4BDA-AFFB-2622D2184579}" type="datetime'''1''''''''''''''''''0''''''''0''''''''''''''''%'''''''">
              <a:rPr lang="en-US" altLang="en-US" sz="1200" smtClean="0">
                <a:solidFill>
                  <a:schemeClr val="bg2">
                    <a:lumMod val="10000"/>
                  </a:schemeClr>
                </a:solidFill>
                <a:effectLst/>
                <a:sym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12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49" name="Master text box">
            <a:extLst>
              <a:ext uri="{FF2B5EF4-FFF2-40B4-BE49-F238E27FC236}">
                <a16:creationId xmlns:a16="http://schemas.microsoft.com/office/drawing/2014/main" id="{7F894E02-4083-2041-F306-C0B28355F4F2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1168400" y="2079625"/>
            <a:ext cx="4206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3213E4-4D9D-4573-AB12-51F39BFACDF6}" type="datetime'''''''''''''''''''''''''''''6''5''''''''''''''''''.''''7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.7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41" name="Master text box">
            <a:extLst>
              <a:ext uri="{FF2B5EF4-FFF2-40B4-BE49-F238E27FC236}">
                <a16:creationId xmlns:a16="http://schemas.microsoft.com/office/drawing/2014/main" id="{F8FEBB1D-C828-47B8-F02A-FECEAE630B24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1884363" y="2079625"/>
            <a:ext cx="4095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999B13-79A1-4366-8CC1-BC79E555D7AD}" type="datetime'''''''''''''''''''''''7''0.''''''''''7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7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43" name="Master text box">
            <a:extLst>
              <a:ext uri="{FF2B5EF4-FFF2-40B4-BE49-F238E27FC236}">
                <a16:creationId xmlns:a16="http://schemas.microsoft.com/office/drawing/2014/main" id="{129317DE-3191-6FCA-D74F-A7C0B2FD7A50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2589213" y="2079625"/>
            <a:ext cx="4206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979BF7-A9F8-4454-835E-3F36A021EA5F}" type="datetime'''''''''''74''''''''''''''''''''''''.3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.3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50" name="Master text box">
            <a:extLst>
              <a:ext uri="{FF2B5EF4-FFF2-40B4-BE49-F238E27FC236}">
                <a16:creationId xmlns:a16="http://schemas.microsoft.com/office/drawing/2014/main" id="{7B72C48B-2BC1-857E-233D-BA7A22E1A875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3292475" y="2079625"/>
            <a:ext cx="436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1E239A-1925-44E0-87F7-0DBE3EB6C9F7}" type="datetime'''''''8''''''''''''''6''''''''''.9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.9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51" name="Master text box">
            <a:extLst>
              <a:ext uri="{FF2B5EF4-FFF2-40B4-BE49-F238E27FC236}">
                <a16:creationId xmlns:a16="http://schemas.microsoft.com/office/drawing/2014/main" id="{DD3A0FA5-2A2F-6AC8-12F4-4EE0C99F2CB7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3983038" y="2079625"/>
            <a:ext cx="4746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308E26-FAC5-4D64-BBB6-4CD2443E75A5}" type="datetime'1''''''''''''2''''''''''''''''''''''''''1''''''''''.''''8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1.8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52" name="Master text box">
            <a:extLst>
              <a:ext uri="{FF2B5EF4-FFF2-40B4-BE49-F238E27FC236}">
                <a16:creationId xmlns:a16="http://schemas.microsoft.com/office/drawing/2014/main" id="{7718DA99-CE19-63DA-74DB-2921FB27591E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4695825" y="2079625"/>
            <a:ext cx="4714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0CA3A1-C5D2-4DB1-B068-B63B4353F02A}" type="datetime'''''1''''''6''''''''''''''1''''''''''''''''''''''''''''''.9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1.9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53" name="Master text box">
            <a:extLst>
              <a:ext uri="{FF2B5EF4-FFF2-40B4-BE49-F238E27FC236}">
                <a16:creationId xmlns:a16="http://schemas.microsoft.com/office/drawing/2014/main" id="{581FE941-870D-831B-D465-28DFB5027497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5383212" y="2079625"/>
            <a:ext cx="5159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280A8C-68FD-40BB-B2AD-99E95F8A0FC8}" type="datetime'2''''''''''''''1''''''''''''''''''0''''''.4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0.4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46" name="Master text box">
            <a:extLst>
              <a:ext uri="{FF2B5EF4-FFF2-40B4-BE49-F238E27FC236}">
                <a16:creationId xmlns:a16="http://schemas.microsoft.com/office/drawing/2014/main" id="{0F7088C5-8BDD-B16B-AE14-AD6E9C8DA923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6078537" y="2079625"/>
            <a:ext cx="5476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BCBAC5-2CA5-4DB0-8E71-65EECB345A35}" type="datetime'''2''''''''''''5''''''''''''''2''''.''''''''5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2.5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47" name="Master text box">
            <a:extLst>
              <a:ext uri="{FF2B5EF4-FFF2-40B4-BE49-F238E27FC236}">
                <a16:creationId xmlns:a16="http://schemas.microsoft.com/office/drawing/2014/main" id="{C2E29A48-79C0-B872-05C0-6EE31EDEA942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6794499" y="2079625"/>
            <a:ext cx="533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40B360-BFE6-4CF4-AD0F-99CE04579D9D}" type="datetime'''''''2''''''''8''''''''''2''''''''.''''''7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2.7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58" name="Rectangle 138">
            <a:extLst>
              <a:ext uri="{FF2B5EF4-FFF2-40B4-BE49-F238E27FC236}">
                <a16:creationId xmlns:a16="http://schemas.microsoft.com/office/drawing/2014/main" id="{69EACD07-1455-DBEF-03F3-79D1127C1665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2320925" y="5778500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 139">
            <a:extLst>
              <a:ext uri="{FF2B5EF4-FFF2-40B4-BE49-F238E27FC236}">
                <a16:creationId xmlns:a16="http://schemas.microsoft.com/office/drawing/2014/main" id="{998FE3E0-7F78-4680-84E3-32F9BE54A633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3724275" y="5778500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ectangle 140">
            <a:extLst>
              <a:ext uri="{FF2B5EF4-FFF2-40B4-BE49-F238E27FC236}">
                <a16:creationId xmlns:a16="http://schemas.microsoft.com/office/drawing/2014/main" id="{6E3AE893-C76D-5602-474A-D0CA12370345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5124450" y="57785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Master text box">
            <a:extLst>
              <a:ext uri="{FF2B5EF4-FFF2-40B4-BE49-F238E27FC236}">
                <a16:creationId xmlns:a16="http://schemas.microsoft.com/office/drawing/2014/main" id="{3DA28E7A-1A88-71DE-ECC5-2F58FB9CFD9D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2622550" y="5773738"/>
            <a:ext cx="10001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202D4867-339C-4FE9-A099-BF3CD2041590}" type="datetime'''''''''''''C''''''''''''o''mp''''''''''''an''y'''''' A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buNone/>
              </a:pPr>
              <a:t>Company A</a:t>
            </a:fld>
            <a:endParaRPr lang="en-US" sz="1400" baseline="300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63" name="Master text box">
            <a:extLst>
              <a:ext uri="{FF2B5EF4-FFF2-40B4-BE49-F238E27FC236}">
                <a16:creationId xmlns:a16="http://schemas.microsoft.com/office/drawing/2014/main" id="{03FFB986-6883-4DB3-8F85-57226E85A358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025900" y="5773738"/>
            <a:ext cx="9969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FC33B4A-62B0-4C91-BB97-81117DC45986}" type="datetime'C''''''''''''''''''o''mp''''''''''a''''ny'''''' ''''''''B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buNone/>
              </a:pPr>
              <a:t>Company B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62" name="Master text box">
            <a:extLst>
              <a:ext uri="{FF2B5EF4-FFF2-40B4-BE49-F238E27FC236}">
                <a16:creationId xmlns:a16="http://schemas.microsoft.com/office/drawing/2014/main" id="{13744525-F978-C033-2305-1AFE4DAAE963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426075" y="5773738"/>
            <a:ext cx="9588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7188" indent="-169863" algn="l" defTabSz="914400" rtl="0" eaLnBrk="1" latinLnBrk="0" hangingPunct="1">
              <a:spcBef>
                <a:spcPct val="20000"/>
              </a:spcBef>
              <a:buClrTx/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9750" indent="-171450" algn="l" defTabSz="914400" rtl="0" eaLnBrk="1" latinLnBrk="0" hangingPunct="1">
              <a:spcBef>
                <a:spcPct val="20000"/>
              </a:spcBef>
              <a:buClrTx/>
              <a:buSzPct val="75000"/>
              <a:buFont typeface="Wingdings 2" panose="05020102010507070707" pitchFamily="18" charset="2"/>
              <a:buChar char="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D1168CA-1112-405B-81B7-D029FE17F2E8}" type="datetime'''''Ye''arly'''''''''''' ''''s''''''''um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buNone/>
              </a:pPr>
              <a:t>Yearly sum</a:t>
            </a:fld>
            <a:endParaRPr lang="en-US" sz="1400">
              <a:solidFill>
                <a:schemeClr val="bg2">
                  <a:lumMod val="10000"/>
                </a:schemeClr>
              </a:solidFill>
              <a:sym typeface="+mn-lt"/>
            </a:endParaRP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14E163F6-D93F-E0F7-3B51-1D660EE87526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68424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columns, bar, bars, think-cell, chart, charts, graph, graphs, comment, percent, percentage</a:t>
            </a:r>
          </a:p>
        </p:txBody>
      </p:sp>
      <p:sp>
        <p:nvSpPr>
          <p:cNvPr id="4" name="Rechteck 137">
            <a:extLst>
              <a:ext uri="{FF2B5EF4-FFF2-40B4-BE49-F238E27FC236}">
                <a16:creationId xmlns:a16="http://schemas.microsoft.com/office/drawing/2014/main" id="{3DA06268-D8FF-6F67-ECEE-630B5ABDF6BD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8" name="tc_columnheader">
            <a:extLst>
              <a:ext uri="{FF2B5EF4-FFF2-40B4-BE49-F238E27FC236}">
                <a16:creationId xmlns:a16="http://schemas.microsoft.com/office/drawing/2014/main" id="{3FE658B1-3A5F-4478-FC27-5B6CF91A94B7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9" name="tc_columnhead">
              <a:extLst>
                <a:ext uri="{FF2B5EF4-FFF2-40B4-BE49-F238E27FC236}">
                  <a16:creationId xmlns:a16="http://schemas.microsoft.com/office/drawing/2014/main" id="{AAA96CBD-EE29-0E01-6152-C0C72226DDF3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11" name="tc_columnheadline">
              <a:extLst>
                <a:ext uri="{FF2B5EF4-FFF2-40B4-BE49-F238E27FC236}">
                  <a16:creationId xmlns:a16="http://schemas.microsoft.com/office/drawing/2014/main" id="{CBDA6133-BD8F-1926-A783-12159E70C3E1}"/>
                </a:ext>
              </a:extLst>
            </p:cNvPr>
            <p:cNvCxnSpPr>
              <a:cxnSpLocks/>
              <a:stCxn id="9" idx="4"/>
              <a:endCxn id="9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tc_columnheader">
            <a:extLst>
              <a:ext uri="{FF2B5EF4-FFF2-40B4-BE49-F238E27FC236}">
                <a16:creationId xmlns:a16="http://schemas.microsoft.com/office/drawing/2014/main" id="{ABFC827A-44BB-BC86-C556-82C82A470BB8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13" name="tc_columnhead">
              <a:extLst>
                <a:ext uri="{FF2B5EF4-FFF2-40B4-BE49-F238E27FC236}">
                  <a16:creationId xmlns:a16="http://schemas.microsoft.com/office/drawing/2014/main" id="{506091F5-749E-2166-D5AB-9F0231F3C035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14" name="tc_columnheadline">
              <a:extLst>
                <a:ext uri="{FF2B5EF4-FFF2-40B4-BE49-F238E27FC236}">
                  <a16:creationId xmlns:a16="http://schemas.microsoft.com/office/drawing/2014/main" id="{5C557FCC-5859-DAD7-1094-D9227777D1FF}"/>
                </a:ext>
              </a:extLst>
            </p:cNvPr>
            <p:cNvCxnSpPr>
              <a:cxnSpLocks/>
              <a:stCxn id="13" idx="4"/>
              <a:endCxn id="13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tangle 18">
            <a:extLst>
              <a:ext uri="{FF2B5EF4-FFF2-40B4-BE49-F238E27FC236}">
                <a16:creationId xmlns:a16="http://schemas.microsoft.com/office/drawing/2014/main" id="{54E6C9C4-7C88-D300-11C6-C9952C4F68A9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the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total label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the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33161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u3kKc9STKfxsBSyZowSg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etJujkR84KPx1T9x24ow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J8CENOUhbQjZYKW9rlfA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sZHQr.Y5toa9NJVuxraA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XcSuS34s2nDgehBhVoNA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aFqideIVFSegw.y88fQg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cjAJ.3ZgZbzTq8QlxhlA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AxLOBAV5jfsYyPrqz.MQ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w57rblySm1nBWaWTquYg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F7AQ9cbclq6JyYkHkPJw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lBASeMYsPBY5s13CEKJA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7BEGJpqxALf2MKWz5Rgg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dLny0fzWP8nBHvwjellw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k6KGMsVVuafuklIvn.mg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qKPZ7Y7rbPZ5VxM7bPjQ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cjLSR4X66pGpP_bEKTtQ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m0GXFJiLh3dDjAk.3x6Q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zmVSEdXMMgy1mRyL12PA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KqbY5fTaDtMLZd3tKy7w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8Ws6TAiDngOHPkC2UVOQ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4a4M9GeL2Bwknl8_0GcA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uF0Kh0zHQVP5U78Bir3Q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YyAyxyuSTe66vgbunXsQ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82BAmWeFPi.wYOX3eJRA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0h4WzZVY0TZ3ZZ46rsgg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QzeRT.fYgNM807thOLcQ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jzcvPl16a7d3TMxtiIaw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9xJzXprfR_.jMr6I4Ns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